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BAD05C99-2364-4E0D-A291-8530A2923B7C}">
          <p14:sldIdLst>
            <p14:sldId id="2147475173"/>
            <p14:sldId id="2147475174"/>
            <p14:sldId id="2147475175"/>
            <p14:sldId id="2147475176"/>
            <p14:sldId id="2147475177"/>
            <p14:sldId id="2147475178"/>
            <p14:sldId id="2147475179"/>
            <p14:sldId id="2147475180"/>
            <p14:sldId id="2147475181"/>
          </p14:sldIdLst>
        </p14:section>
        <p14:section name="Brackets By Segment" id="{BF2340ED-FDF3-4B39-B492-555116C9F006}">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03390010976774</c:v>
                </c:pt>
                <c:pt idx="5">
                  <c:v>0.0616201680777648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404494481929671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627411771025429</c:v>
                </c:pt>
                <c:pt idx="5">
                  <c:v>0.0097039028077206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751489669286965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06743830658346602</c:v>
                </c:pt>
                <c:pt idx="4">
                  <c:v>0.049257882521358286</c:v>
                </c:pt>
                <c:pt idx="5">
                  <c:v>0.0863455827643368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307729822551511</c:v>
                </c:pt>
                <c:pt idx="5">
                  <c:v>0.03074208669424525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1301067452330258</c:v>
                </c:pt>
                <c:pt idx="4">
                  <c:v>0.07771706734710042</c:v>
                </c:pt>
                <c:pt idx="5">
                  <c:v>0.02525419110742029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17308058132634</c:v>
                </c:pt>
                <c:pt idx="5">
                  <c:v>0.00406525179169962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63168165286961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871881813244948</c:v>
                </c:pt>
                <c:pt idx="5">
                  <c:v>0.070007686372232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340023424850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6137469556495</c:v>
                </c:pt>
                <c:pt idx="5">
                  <c:v>0.0832795416306766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292833412039403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043374204672311</c:v>
                </c:pt>
                <c:pt idx="5">
                  <c:v>0.095841962245005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84199987186045</c:v>
                </c:pt>
                <c:pt idx="5">
                  <c:v>0.1295629264964680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781071100051742</c:v>
                </c:pt>
                <c:pt idx="5">
                  <c:v>0.47850207764957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7485189545290833</c:v>
                </c:pt>
                <c:pt idx="5">
                  <c:v>0.081701475835488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0617602538415825</c:v>
                </c:pt>
                <c:pt idx="5">
                  <c:v>0.0181084850696987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737878606750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863285683688994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38305639117786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165024595107198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674730954254826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570381060956619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37187509693180545</c:v>
                </c:pt>
                <c:pt idx="4">
                  <c:v>0.0824656338683987</c:v>
                </c:pt>
                <c:pt idx="5">
                  <c:v>0.001048766964341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8779152824608377</c:v>
                </c:pt>
                <c:pt idx="5">
                  <c:v>0.0296901354812171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13899891158993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186127073681279</c:v>
                </c:pt>
                <c:pt idx="4">
                  <c:v>0.063926765479845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9324730519136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0672032807625904</c:v>
                </c:pt>
                <c:pt idx="5">
                  <c:v>0.083566548261200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03390010976774</c:v>
                </c:pt>
                <c:pt idx="5">
                  <c:v>0.0616201680777648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4097721892416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627411771025429</c:v>
                </c:pt>
                <c:pt idx="5">
                  <c:v>0.0097039028077206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2120325569188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06743830658346602</c:v>
                </c:pt>
                <c:pt idx="4">
                  <c:v>0.049257882521358286</c:v>
                </c:pt>
                <c:pt idx="5">
                  <c:v>0.0863455827643368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307729822551511</c:v>
                </c:pt>
                <c:pt idx="5">
                  <c:v>0.03074208669424525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1301067452330258</c:v>
                </c:pt>
                <c:pt idx="4">
                  <c:v>0.07771706734710042</c:v>
                </c:pt>
                <c:pt idx="5">
                  <c:v>0.02525419110742029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17308058132634</c:v>
                </c:pt>
                <c:pt idx="5">
                  <c:v>0.00406525179169962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63168165286961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871881813244948</c:v>
                </c:pt>
                <c:pt idx="5">
                  <c:v>0.070007686372232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88174928950269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6137469556495</c:v>
                </c:pt>
                <c:pt idx="5">
                  <c:v>0.0832795416306766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043374204672311</c:v>
                </c:pt>
                <c:pt idx="5">
                  <c:v>0.095841962245005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84199987186045</c:v>
                </c:pt>
                <c:pt idx="5">
                  <c:v>0.1295629264964680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7485189545290833</c:v>
                </c:pt>
                <c:pt idx="5">
                  <c:v>0.081701475835488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804489811067686</c:v>
                </c:pt>
                <c:pt idx="4">
                  <c:v>0.4422073147062978</c:v>
                </c:pt>
                <c:pt idx="5">
                  <c:v>0.1270830999347851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0617602538415825</c:v>
                </c:pt>
                <c:pt idx="5">
                  <c:v>0.0181084850696987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737878606750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38305639117786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0270688480825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674730954254826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37187509693180545</c:v>
                </c:pt>
                <c:pt idx="4">
                  <c:v>0.0824656338683987</c:v>
                </c:pt>
                <c:pt idx="5">
                  <c:v>0.001048766964341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13899891158993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186127073681279</c:v>
                </c:pt>
                <c:pt idx="4">
                  <c:v>0.063926765479845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9324730519136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0672032807625904</c:v>
                </c:pt>
                <c:pt idx="5">
                  <c:v>0.083566548261200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03390010976774</c:v>
                </c:pt>
                <c:pt idx="5">
                  <c:v>0.0616201680777648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627411771025429</c:v>
                </c:pt>
                <c:pt idx="5">
                  <c:v>0.0097039028077206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99058980338549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06743830658346602</c:v>
                </c:pt>
                <c:pt idx="4">
                  <c:v>0.049257882521358286</c:v>
                </c:pt>
                <c:pt idx="5">
                  <c:v>0.0863455827643368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1487565144139377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2307729822551511</c:v>
                </c:pt>
                <c:pt idx="5">
                  <c:v>0.03074208669424525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9904878042999334</c:v>
                </c:pt>
                <c:pt idx="4">
                  <c:v>0.0022121511258595275</c:v>
                </c:pt>
                <c:pt idx="5">
                  <c:v>0.396528422896412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1301067452330258</c:v>
                </c:pt>
                <c:pt idx="4">
                  <c:v>0.07771706734710042</c:v>
                </c:pt>
                <c:pt idx="5">
                  <c:v>0.02525419110742029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17308058132634</c:v>
                </c:pt>
                <c:pt idx="5">
                  <c:v>0.00406525179169962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63168165286961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2206270120286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7871881813244948</c:v>
                </c:pt>
                <c:pt idx="5">
                  <c:v>0.070007686372232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6137469556495</c:v>
                </c:pt>
                <c:pt idx="5">
                  <c:v>0.0832795416306766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97013407708007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043374204672311</c:v>
                </c:pt>
                <c:pt idx="5">
                  <c:v>0.0958419622450057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662319695757888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251239837528588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84199987186045</c:v>
                </c:pt>
                <c:pt idx="5">
                  <c:v>0.1295629264964680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7485189545290833</c:v>
                </c:pt>
                <c:pt idx="5">
                  <c:v>0.081701475835488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0617602538415825</c:v>
                </c:pt>
                <c:pt idx="5">
                  <c:v>0.0181084850696987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7378786067509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38305639117786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674730954254826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899470580469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9525350260849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37187509693180545</c:v>
                </c:pt>
                <c:pt idx="4">
                  <c:v>0.0824656338683987</c:v>
                </c:pt>
                <c:pt idx="5">
                  <c:v>0.001048766964341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1242197872475864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1138998911589934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186127073681279</c:v>
                </c:pt>
                <c:pt idx="4">
                  <c:v>0.063926765479845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9324730519136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0672032807625904</c:v>
                </c:pt>
                <c:pt idx="5">
                  <c:v>0.083566548261200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479643448858368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804489811067686</c:v>
                </c:pt>
                <c:pt idx="4">
                  <c:v>0.4422073147062978</c:v>
                </c:pt>
                <c:pt idx="5">
                  <c:v>0.1270830999347851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40978247986391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4100982402755662</c:v>
                </c:pt>
                <c:pt idx="5">
                  <c:v>0.0256778251535601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038082888826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4100982402755662</c:v>
                </c:pt>
                <c:pt idx="5">
                  <c:v>0.0256778251535601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75914164735881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781071100051742</c:v>
                </c:pt>
                <c:pt idx="5">
                  <c:v>0.47850207764957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8818146209921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8779152824608377</c:v>
                </c:pt>
                <c:pt idx="5">
                  <c:v>0.0296901354812171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2120325569188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60019499163003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9904878042999334</c:v>
                </c:pt>
                <c:pt idx="4">
                  <c:v>0.0022121511258595275</c:v>
                </c:pt>
                <c:pt idx="5">
                  <c:v>0.396528422896412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0270688480825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662319695757888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038082888826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899470580469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5445148084735518</c:v>
                </c:pt>
                <c:pt idx="4">
                  <c:v>0.1287004654567686</c:v>
                </c:pt>
                <c:pt idx="5">
                  <c:v>0.8658500114004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804489811067686</c:v>
                </c:pt>
                <c:pt idx="4">
                  <c:v>0.4422073147062978</c:v>
                </c:pt>
                <c:pt idx="5">
                  <c:v>0.1270830999347851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04781549475248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4100982402755662</c:v>
                </c:pt>
                <c:pt idx="5">
                  <c:v>0.0256778251535601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2341412417121375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0380828888266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7</c:v>
                </c:pt>
                <c:pt idx="5">
                  <c:v>0.86015598603590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781071100051742</c:v>
                </c:pt>
                <c:pt idx="5">
                  <c:v>0.478502077649570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248253245236596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8779152824608377</c:v>
                </c:pt>
                <c:pt idx="5">
                  <c:v>0.0296901354812171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296210441645319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21203255691880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0"/>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9789208205848974</c:v>
                </c:pt>
                <c:pt idx="4">
                  <c:v>0.0035293358835349446</c:v>
                </c:pt>
                <c:pt idx="5">
                  <c:v>0.966657978412746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9904878042999334</c:v>
                </c:pt>
                <c:pt idx="4">
                  <c:v>0.0022121511258595275</c:v>
                </c:pt>
                <c:pt idx="5">
                  <c:v>0.396528422896412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119473289856083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662319695757888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00374985725073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4899470580469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503682315836589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507400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027391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785805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13191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300732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740684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88958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693953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37441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53011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0584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063087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76955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18293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66805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15338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60572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62429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628724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87522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1907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16700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41129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748892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723598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695326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235629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